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2"/>
  </p:notesMasterIdLst>
  <p:handoutMasterIdLst>
    <p:handoutMasterId r:id="rId13"/>
  </p:handoutMasterIdLst>
  <p:sldIdLst>
    <p:sldId id="311" r:id="rId4"/>
    <p:sldId id="340" r:id="rId5"/>
    <p:sldId id="350" r:id="rId6"/>
    <p:sldId id="351" r:id="rId7"/>
    <p:sldId id="352" r:id="rId8"/>
    <p:sldId id="353" r:id="rId9"/>
    <p:sldId id="329" r:id="rId10"/>
    <p:sldId id="349" r:id="rId11"/>
  </p:sldIdLst>
  <p:sldSz cx="9906000" cy="6858000" type="A4"/>
  <p:notesSz cx="6896100" cy="1003300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30" d="100"/>
          <a:sy n="130" d="100"/>
        </p:scale>
        <p:origin x="-864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12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15.png"/><Relationship Id="rId4" Type="http://schemas.openxmlformats.org/officeDocument/2006/relationships/tags" Target="../tags/tag38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15.png"/><Relationship Id="rId4" Type="http://schemas.openxmlformats.org/officeDocument/2006/relationships/tags" Target="../tags/tag47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7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6.gif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5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6.xml"/><Relationship Id="rId9" Type="http://schemas.openxmlformats.org/officeDocument/2006/relationships/image" Target="../media/image7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grpSp>
        <p:nvGrpSpPr>
          <p:cNvPr id="13" name="Group 12"/>
          <p:cNvGrpSpPr/>
          <p:nvPr userDrawn="1"/>
        </p:nvGrpSpPr>
        <p:grpSpPr>
          <a:xfrm>
            <a:off x="6249180" y="188550"/>
            <a:ext cx="3048847" cy="1347723"/>
            <a:chOff x="716233" y="0"/>
            <a:chExt cx="3048847" cy="1347723"/>
          </a:xfrm>
        </p:grpSpPr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716233" y="653033"/>
              <a:ext cx="3002809" cy="694690"/>
            </a:xfrm>
            <a:prstGeom prst="rect">
              <a:avLst/>
            </a:prstGeom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1496520" y="0"/>
              <a:ext cx="2268560" cy="1201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2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1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5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30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Introduction-to-Scratch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3" name="Picture 3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977420" y="31430"/>
            <a:ext cx="1656230" cy="877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7.vml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2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.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05410" y="4365130"/>
            <a:ext cx="1838325" cy="1828800"/>
          </a:xfrm>
          <a:prstGeom prst="rect">
            <a:avLst/>
          </a:prstGeom>
          <a:noFill/>
        </p:spPr>
      </p:pic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12550" y="2060810"/>
            <a:ext cx="4076700" cy="1371600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99507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ym</a:t>
            </a:r>
            <a:r>
              <a:rPr lang="de-DE" dirty="0" smtClean="0"/>
              <a:t> </a:t>
            </a:r>
            <a:r>
              <a:rPr lang="de-DE" dirty="0" err="1" smtClean="0"/>
              <a:t>jest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językiem programowania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my użyć go do tworzenia własnych, interaktywnych historyjek, animacji, gier, muzyki oraz sztuki</a:t>
            </a: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36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8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ego</a:t>
            </a:r>
            <a:r>
              <a:rPr lang="de-DE" dirty="0" smtClean="0"/>
              <a:t> </a:t>
            </a:r>
            <a:r>
              <a:rPr lang="de-DE" dirty="0" err="1" smtClean="0"/>
              <a:t>uczy</a:t>
            </a:r>
            <a:r>
              <a:rPr lang="de-DE" dirty="0" smtClean="0"/>
              <a:t> </a:t>
            </a:r>
            <a:r>
              <a:rPr lang="de-DE" dirty="0" err="1" smtClean="0"/>
              <a:t>nas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7063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4402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ważnych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idei</a:t>
            </a:r>
            <a:r>
              <a:rPr lang="de-DE" sz="2400" dirty="0" smtClean="0">
                <a:solidFill>
                  <a:srgbClr val="FF950E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programistycznych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myśleć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kreatyw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ystematycznego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rozumowania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5976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9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Czym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jest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programowanie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266437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rogramowanie</a:t>
            </a:r>
            <a:r>
              <a:rPr lang="pl-PL" sz="2400" dirty="0" smtClean="0">
                <a:latin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ztuką</a:t>
            </a:r>
            <a:r>
              <a:rPr lang="pl-PL" sz="2400" dirty="0" smtClean="0">
                <a:latin typeface="Comic Sans MS"/>
              </a:rPr>
              <a:t> powiedzenia komputerowi żeby zrobił coś co chcemy żeby zrobił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 komputerowy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biorem instrukcji mówiących komputerowi, w jaki sposób wykonać dane zadanie</a:t>
            </a:r>
            <a:r>
              <a:rPr lang="pl-PL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smtClean="0">
                <a:latin typeface="Comic Sans MS"/>
              </a:rPr>
              <a:t>Pro</a:t>
            </a:r>
            <a:r>
              <a:rPr lang="pl-PL" sz="2400" dirty="0" err="1" smtClean="0">
                <a:latin typeface="Comic Sans MS"/>
              </a:rPr>
              <a:t>gramowanie</a:t>
            </a:r>
            <a:r>
              <a:rPr lang="pl-PL" sz="2400" dirty="0" smtClean="0">
                <a:latin typeface="Comic Sans MS"/>
              </a:rPr>
              <a:t> jest jak recepta: zbiór instrukcji mówiących kucharzowi jak przyrządzić dani</a:t>
            </a:r>
            <a:r>
              <a:rPr lang="de-DE" sz="2400" dirty="0" smtClean="0">
                <a:latin typeface="Comic Sans MS"/>
              </a:rPr>
              <a:t>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780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02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odstawowe elementy projektu w </a:t>
            </a:r>
            <a:r>
              <a:rPr lang="pl-PL" dirty="0" err="1" smtClean="0">
                <a:solidFill>
                  <a:srgbClr val="000000"/>
                </a:solidFill>
                <a:latin typeface="Comic Sans MS"/>
              </a:rPr>
              <a:t>Scratchu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1521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jekt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składa się z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tages</a:t>
            </a:r>
            <a:r>
              <a:rPr lang="pl-PL" sz="2400" dirty="0" smtClean="0">
                <a:latin typeface="Comic Sans MS"/>
              </a:rPr>
              <a:t>) oraz obiektów zwanych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duszk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ami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prites</a:t>
            </a:r>
            <a:r>
              <a:rPr lang="pl-PL" sz="2400" dirty="0" smtClean="0">
                <a:latin typeface="Comic Sans MS"/>
              </a:rPr>
              <a:t>)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14241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12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odstawowe elementy projektu w </a:t>
            </a:r>
            <a:r>
              <a:rPr lang="pl-PL" dirty="0" err="1" smtClean="0">
                <a:solidFill>
                  <a:srgbClr val="000000"/>
                </a:solidFill>
                <a:latin typeface="Comic Sans MS"/>
              </a:rPr>
              <a:t>Scratchu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cena</a:t>
            </a:r>
            <a:r>
              <a:rPr lang="pl-PL" sz="2400" dirty="0" smtClean="0">
                <a:latin typeface="Comic Sans MS"/>
              </a:rPr>
              <a:t> jest miejscem gdzie odbywają się wasze animacje, gry i historyjki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414910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de-DE" sz="2400" dirty="0" smtClean="0"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poruszają się oraz współdziałają ze sobą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2" name="Line 4"/>
          <p:cNvSpPr/>
          <p:nvPr/>
        </p:nvSpPr>
        <p:spPr>
          <a:xfrm flipV="1">
            <a:off x="1208480" y="3429000"/>
            <a:ext cx="5544770" cy="792110"/>
          </a:xfrm>
          <a:prstGeom prst="line">
            <a:avLst/>
          </a:prstGeom>
          <a:ln w="36720">
            <a:solidFill>
              <a:srgbClr val="FF950E"/>
            </a:solidFill>
            <a:round/>
            <a:tailEnd type="triangle" w="med" len="med"/>
          </a:ln>
        </p:spPr>
      </p:sp>
      <p:sp>
        <p:nvSpPr>
          <p:cNvPr id="13" name="Line 5"/>
          <p:cNvSpPr/>
          <p:nvPr/>
        </p:nvSpPr>
        <p:spPr>
          <a:xfrm flipV="1">
            <a:off x="2864710" y="5085230"/>
            <a:ext cx="2232310" cy="19430"/>
          </a:xfrm>
          <a:prstGeom prst="line">
            <a:avLst/>
          </a:prstGeom>
          <a:ln w="36720">
            <a:solidFill>
              <a:srgbClr val="FF950E"/>
            </a:solidFill>
            <a:round/>
            <a:tailEnd type="triangle" w="med" len="med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3</Words>
  <Application>Microsoft Office PowerPoint</Application>
  <PresentationFormat>A4 Paper (210x297 mm)</PresentationFormat>
  <Paragraphs>39</Paragraphs>
  <Slides>8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Blank</vt:lpstr>
      <vt:lpstr>Closing slides</vt:lpstr>
      <vt:lpstr>Section break</vt:lpstr>
      <vt:lpstr>think-cell Slide</vt:lpstr>
      <vt:lpstr>           .</vt:lpstr>
      <vt:lpstr>Czym jest                  ?</vt:lpstr>
      <vt:lpstr>Czego uczy nas                  ?</vt:lpstr>
      <vt:lpstr>Czym jest programowanie?</vt:lpstr>
      <vt:lpstr>Podstawowe elementy projektu w Scratchu.</vt:lpstr>
      <vt:lpstr>Podstawowe elementy projektu w Scratchu.</vt:lpstr>
      <vt:lpstr>Slide 7</vt:lpstr>
      <vt:lpstr>Slide 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sobkowi</cp:lastModifiedBy>
  <cp:revision>40</cp:revision>
  <dcterms:created xsi:type="dcterms:W3CDTF">2014-10-21T19:55:20Z</dcterms:created>
  <dcterms:modified xsi:type="dcterms:W3CDTF">2014-11-12T05:34:02Z</dcterms:modified>
</cp:coreProperties>
</file>